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8" r:id="rId2"/>
    <p:sldId id="260" r:id="rId3"/>
    <p:sldId id="261" r:id="rId4"/>
  </p:sldIdLst>
  <p:sldSz cx="12192000" cy="6858000"/>
  <p:notesSz cx="6858000" cy="9144000"/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ΧΡΙΣΤΙΝΑ ΚΑΤΩΠΟΔΗ" initials="ΧΚ" lastIdx="0" clrIdx="0">
    <p:extLst>
      <p:ext uri="{19B8F6BF-5375-455C-9EA6-DF929625EA0E}">
        <p15:presenceInfo xmlns:p15="http://schemas.microsoft.com/office/powerpoint/2012/main" userId="S-1-5-21-2499576525-2853240682-2746563143-7580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6318" autoAdjust="0"/>
  </p:normalViewPr>
  <p:slideViewPr>
    <p:cSldViewPr snapToGrid="0">
      <p:cViewPr varScale="1">
        <p:scale>
          <a:sx n="109" d="100"/>
          <a:sy n="109" d="100"/>
        </p:scale>
        <p:origin x="63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Υπότιτλος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l-GR"/>
              <a:t>Στυλ κύριου υπότιτλ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13/1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1995571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Τίτλος και Κατακόρυφο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ατακόρυφου κειμένου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13/1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8716944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Κατακόρυφος τίτλος και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Κατακόρυφος τίτλος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ατακόρυφου κειμένου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13/1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8557725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Τίτλος και περιεχό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13/1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5611411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Κεφαλίδα ενότητα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13/1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2254069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Δύο περιεχόμεν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περιεχομένου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περιεχομένου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13/1/2025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5618526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Σύγκρισ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4" name="Θέση περιεχομένου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5" name="Θέση κειμένου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6" name="Θέση περιεχομένου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7" name="Θέση ημερομηνίας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13/1/2025</a:t>
            </a:fld>
            <a:endParaRPr lang="el-GR"/>
          </a:p>
        </p:txBody>
      </p:sp>
      <p:sp>
        <p:nvSpPr>
          <p:cNvPr id="8" name="Θέση υποσέλιδου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9" name="Θέση αριθμού διαφάνειας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7648201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Μόνο τίτλ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ημερομηνίας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13/1/2025</a:t>
            </a:fld>
            <a:endParaRPr lang="el-GR"/>
          </a:p>
        </p:txBody>
      </p:sp>
      <p:sp>
        <p:nvSpPr>
          <p:cNvPr id="4" name="Θέση υποσέλιδου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5" name="Θέση αριθμού διαφάνειας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2668140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Κεν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ημερομηνίας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13/1/2025</a:t>
            </a:fld>
            <a:endParaRPr lang="el-GR"/>
          </a:p>
        </p:txBody>
      </p:sp>
      <p:sp>
        <p:nvSpPr>
          <p:cNvPr id="3" name="Θέση υποσέλιδου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8671736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Περιεχόμενο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κειμένου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13/1/2025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547050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Θέση εικόνας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l-GR"/>
          </a:p>
        </p:txBody>
      </p:sp>
      <p:sp>
        <p:nvSpPr>
          <p:cNvPr id="4" name="Θέση κειμένου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13/1/2025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4117197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τίτλου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142824E-7490-4627-A16B-8FE99F923A30}" type="datetimeFigureOut">
              <a:rPr lang="el-GR" smtClean="0"/>
              <a:t>13/1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059767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577D6B2E-37A3-429E-A37C-F30ED64872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CEAD642-85CF-4750-8432-7C80C901F0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-11722" y="0"/>
            <a:ext cx="12225952" cy="6868071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A33EEAE-15D5-4119-8C1E-89D943F911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441960" y="-3"/>
            <a:ext cx="11772269" cy="6868074"/>
          </a:xfrm>
          <a:prstGeom prst="rect">
            <a:avLst/>
          </a:prstGeom>
          <a:gradFill>
            <a:gsLst>
              <a:gs pos="21000">
                <a:schemeClr val="accent1">
                  <a:lumMod val="50000"/>
                  <a:alpha val="83000"/>
                </a:schemeClr>
              </a:gs>
              <a:gs pos="100000">
                <a:schemeClr val="accent1">
                  <a:alpha val="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30D8B3B-9B80-4025-B934-26DC7D7CD2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-15200" y="0"/>
            <a:ext cx="3623374" cy="686807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0"/>
                </a:schemeClr>
              </a:gs>
              <a:gs pos="99000">
                <a:srgbClr val="000000">
                  <a:alpha val="41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064D5D5-227B-4F66-9AEA-46F570E793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5874" y="-3"/>
            <a:ext cx="12233581" cy="6868076"/>
          </a:xfrm>
          <a:prstGeom prst="rect">
            <a:avLst/>
          </a:prstGeom>
          <a:gradFill>
            <a:gsLst>
              <a:gs pos="3000">
                <a:schemeClr val="accent1">
                  <a:lumMod val="75000"/>
                  <a:alpha val="0"/>
                </a:schemeClr>
              </a:gs>
              <a:gs pos="100000">
                <a:srgbClr val="000000">
                  <a:alpha val="73000"/>
                </a:srgb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46B67A4-D328-4747-A82B-65E84FA46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4484335" y="-861824"/>
            <a:ext cx="6861931" cy="8597859"/>
          </a:xfrm>
          <a:prstGeom prst="rect">
            <a:avLst/>
          </a:prstGeom>
          <a:gradFill>
            <a:gsLst>
              <a:gs pos="3000">
                <a:schemeClr val="accent1">
                  <a:lumMod val="75000"/>
                  <a:alpha val="0"/>
                </a:schemeClr>
              </a:gs>
              <a:gs pos="100000">
                <a:srgbClr val="000000">
                  <a:alpha val="27000"/>
                </a:srgb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B5A1B09C-1565-46F8-B70F-621C5EB48A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993193">
            <a:off x="1186973" y="1089049"/>
            <a:ext cx="4967533" cy="4988390"/>
          </a:xfrm>
          <a:prstGeom prst="ellipse">
            <a:avLst/>
          </a:prstGeom>
          <a:gradFill>
            <a:gsLst>
              <a:gs pos="0">
                <a:schemeClr val="accent1">
                  <a:alpha val="26000"/>
                </a:schemeClr>
              </a:gs>
              <a:gs pos="85000">
                <a:schemeClr val="accent1">
                  <a:lumMod val="60000"/>
                  <a:lumOff val="4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62567" y="818985"/>
            <a:ext cx="6714699" cy="3178689"/>
          </a:xfrm>
        </p:spPr>
        <p:txBody>
          <a:bodyPr>
            <a:normAutofit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4400" b="1" dirty="0">
                <a:solidFill>
                  <a:srgbClr val="FFFFFF"/>
                </a:solidFill>
                <a:latin typeface="+mn-lt"/>
              </a:rPr>
              <a:t>Απολογιστικά στοιχεία ρυθμίσεων εξωδικαστικού </a:t>
            </a:r>
            <a:br>
              <a:rPr lang="el-GR" sz="4400" b="1" dirty="0">
                <a:solidFill>
                  <a:srgbClr val="FFFFFF"/>
                </a:solidFill>
                <a:latin typeface="+mn-lt"/>
              </a:rPr>
            </a:br>
            <a:r>
              <a:rPr lang="el-GR" sz="4400" b="1" dirty="0">
                <a:solidFill>
                  <a:srgbClr val="FFFFFF"/>
                </a:solidFill>
                <a:latin typeface="+mn-lt"/>
              </a:rPr>
              <a:t>2024</a:t>
            </a:r>
            <a:endParaRPr lang="en-US" sz="36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C516CC8-80AC-446C-A56E-9F54B72104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3" y="4490110"/>
            <a:ext cx="12217710" cy="237796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34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285398" y="4810519"/>
            <a:ext cx="7055893" cy="1228496"/>
          </a:xfrm>
        </p:spPr>
        <p:txBody>
          <a:bodyPr>
            <a:normAutofit fontScale="85000" lnSpcReduction="20000"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2100" b="1" dirty="0">
                <a:solidFill>
                  <a:srgbClr val="FFFFFF"/>
                </a:solidFill>
              </a:rPr>
              <a:t>Γενική Γραμματεία Χρηματοπιστωτικού Τομέα και Διαχείρισης Ιδιωτικού Χρέους</a:t>
            </a:r>
          </a:p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2100" b="1" dirty="0">
                <a:solidFill>
                  <a:srgbClr val="FFFFFF"/>
                </a:solidFill>
              </a:rPr>
              <a:t>Υπουργείο Εθνικής Οικονομίας και Οικονομικών</a:t>
            </a:r>
          </a:p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2100" b="1" dirty="0">
                <a:solidFill>
                  <a:srgbClr val="FFFFFF"/>
                </a:solidFill>
              </a:rPr>
              <a:t>Ελληνική Δημοκρατία</a:t>
            </a:r>
            <a:br>
              <a:rPr lang="en-US" sz="1800" dirty="0">
                <a:solidFill>
                  <a:srgbClr val="FFFFFF"/>
                </a:solidFill>
                <a:latin typeface="+mn-lt"/>
              </a:rPr>
            </a:br>
            <a:endParaRPr lang="el-GR" sz="1800" b="1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E0FA27-7B81-4A55-864F-C6D09564FD1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l-GR" sz="40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00543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12">
            <a:extLst>
              <a:ext uri="{FF2B5EF4-FFF2-40B4-BE49-F238E27FC236}">
                <a16:creationId xmlns:a16="http://schemas.microsoft.com/office/drawing/2014/main" id="{09588DA8-065E-4F6F-8EFD-43104AB2E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 useBgFill="1">
        <p:nvSpPr>
          <p:cNvPr id="27" name="Rectangle 14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8" name="Rectangle 16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3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4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31" name="Freeform: Shape 22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6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1" tIns="45715" rIns="91431" bIns="45715"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2" y="1399944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11704320" y="6455665"/>
            <a:ext cx="448056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fld id="{51543827-C2B0-46E7-89AA-B56A23F9ACD0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l">
                <a:spcAft>
                  <a:spcPts val="600"/>
                </a:spcAft>
              </a:pPr>
              <a:t>2</a:t>
            </a:fld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Ορθογώνιο 4"/>
          <p:cNvSpPr/>
          <p:nvPr/>
        </p:nvSpPr>
        <p:spPr>
          <a:xfrm>
            <a:off x="3065417" y="0"/>
            <a:ext cx="97241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9" name="TextBox 18"/>
          <p:cNvSpPr txBox="1"/>
          <p:nvPr/>
        </p:nvSpPr>
        <p:spPr>
          <a:xfrm>
            <a:off x="3432381" y="332751"/>
            <a:ext cx="860367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Ραγδαία η άνοδος των ρυθμίσεων του εξωδικαστικού μηχανισμού το 2024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Πραγματοποιήθηκαν 16.903 ρυθμίσεις ύψους αρχικών οφειλών €5,13 δις</a:t>
            </a:r>
          </a:p>
        </p:txBody>
      </p:sp>
      <p:sp>
        <p:nvSpPr>
          <p:cNvPr id="17" name="1 - Τίτλος"/>
          <p:cNvSpPr txBox="1">
            <a:spLocks/>
          </p:cNvSpPr>
          <p:nvPr/>
        </p:nvSpPr>
        <p:spPr>
          <a:xfrm>
            <a:off x="11073" y="1785257"/>
            <a:ext cx="3054344" cy="218909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l-GR" sz="3200" b="1" dirty="0">
                <a:solidFill>
                  <a:schemeClr val="bg1"/>
                </a:solidFill>
                <a:latin typeface="+mn-lt"/>
              </a:rPr>
              <a:t>Ραγδαία άνοδος το 2024</a:t>
            </a:r>
          </a:p>
        </p:txBody>
      </p:sp>
      <p:pic>
        <p:nvPicPr>
          <p:cNvPr id="3" name="Εικόνα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78385" y="1515088"/>
            <a:ext cx="7381875" cy="3848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6352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12">
            <a:extLst>
              <a:ext uri="{FF2B5EF4-FFF2-40B4-BE49-F238E27FC236}">
                <a16:creationId xmlns:a16="http://schemas.microsoft.com/office/drawing/2014/main" id="{09588DA8-065E-4F6F-8EFD-43104AB2E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 useBgFill="1">
        <p:nvSpPr>
          <p:cNvPr id="27" name="Rectangle 14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8" name="Rectangle 16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3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4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31" name="Freeform: Shape 22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6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1" tIns="45715" rIns="91431" bIns="45715"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2" y="1399944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11704320" y="6455665"/>
            <a:ext cx="448056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fld id="{51543827-C2B0-46E7-89AA-B56A23F9ACD0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l">
                <a:spcAft>
                  <a:spcPts val="600"/>
                </a:spcAft>
              </a:pPr>
              <a:t>3</a:t>
            </a:fld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Ορθογώνιο 4"/>
          <p:cNvSpPr/>
          <p:nvPr/>
        </p:nvSpPr>
        <p:spPr>
          <a:xfrm>
            <a:off x="3065417" y="0"/>
            <a:ext cx="97241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9" name="TextBox 18"/>
          <p:cNvSpPr txBox="1"/>
          <p:nvPr/>
        </p:nvSpPr>
        <p:spPr>
          <a:xfrm>
            <a:off x="3353198" y="307980"/>
            <a:ext cx="835112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Η μηνιαία αποτύπωση των ρυθμίσεων δείχνει τα υψηλά επίπεδα και την αποδοτικότητα των συνεχών βελτιωτικών νομοθετικών κινήσεων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Το ιστορικό υψηλό σημειώθηκε τον Νοέμβριο </a:t>
            </a:r>
            <a:r>
              <a:rPr lang="el-GR"/>
              <a:t>του 2024, </a:t>
            </a:r>
            <a:r>
              <a:rPr lang="el-GR" dirty="0"/>
              <a:t>τόσο σε πλήθος ρυθμίσεων (1.989) όσο και σε σύνολο οφειλών (€602,78 εκ.)  </a:t>
            </a:r>
          </a:p>
        </p:txBody>
      </p:sp>
      <p:sp>
        <p:nvSpPr>
          <p:cNvPr id="16" name="1 - Τίτλος"/>
          <p:cNvSpPr txBox="1">
            <a:spLocks/>
          </p:cNvSpPr>
          <p:nvPr/>
        </p:nvSpPr>
        <p:spPr>
          <a:xfrm>
            <a:off x="139337" y="1785257"/>
            <a:ext cx="2921389" cy="218909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l-GR" sz="3600" b="1" dirty="0">
                <a:solidFill>
                  <a:srgbClr val="FFFFFF"/>
                </a:solidFill>
                <a:latin typeface="+mn-lt"/>
              </a:rPr>
              <a:t>Μηνιαία αποτύπωση</a:t>
            </a:r>
          </a:p>
        </p:txBody>
      </p:sp>
      <p:pic>
        <p:nvPicPr>
          <p:cNvPr id="3" name="Εικόνα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6792" y="1855233"/>
            <a:ext cx="9055584" cy="3455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1821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R8xTmHTBOMdux6p2maSA"/>
</p:tagLst>
</file>

<file path=ppt/theme/theme1.xml><?xml version="1.0" encoding="utf-8"?>
<a:theme xmlns:a="http://schemas.openxmlformats.org/drawingml/2006/main" name="Θέμα του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94</TotalTime>
  <Words>92</Words>
  <Application>Microsoft Office PowerPoint</Application>
  <PresentationFormat>Ευρεία οθόνη</PresentationFormat>
  <Paragraphs>12</Paragraphs>
  <Slides>3</Slides>
  <Notes>0</Notes>
  <HiddenSlides>0</HiddenSlides>
  <MMClips>0</MMClips>
  <ScaleCrop>false</ScaleCrop>
  <HeadingPairs>
    <vt:vector size="6" baseType="variant">
      <vt:variant>
        <vt:lpstr>Γραμματοσειρές που χρησιμοποιούνται</vt:lpstr>
      </vt:variant>
      <vt:variant>
        <vt:i4>3</vt:i4>
      </vt:variant>
      <vt:variant>
        <vt:lpstr>Θέμα</vt:lpstr>
      </vt:variant>
      <vt:variant>
        <vt:i4>1</vt:i4>
      </vt:variant>
      <vt:variant>
        <vt:lpstr>Τίτλοι διαφανειών</vt:lpstr>
      </vt:variant>
      <vt:variant>
        <vt:i4>3</vt:i4>
      </vt:variant>
    </vt:vector>
  </HeadingPairs>
  <TitlesOfParts>
    <vt:vector size="7" baseType="lpstr">
      <vt:lpstr>Arial</vt:lpstr>
      <vt:lpstr>Calibri</vt:lpstr>
      <vt:lpstr>Calibri Light</vt:lpstr>
      <vt:lpstr>Θέμα του Office</vt:lpstr>
      <vt:lpstr>Απολογιστικά στοιχεία ρυθμίσεων εξωδικαστικού  2024</vt:lpstr>
      <vt:lpstr>Παρουσίαση του PowerPoint</vt:lpstr>
      <vt:lpstr>Παρουσίαση του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Παρουσίαση του PowerPoint</dc:title>
  <dc:creator>ΧΡΙΣΤΙΝΑ ΚΑΤΩΠΟΔΗ</dc:creator>
  <cp:lastModifiedBy>USER</cp:lastModifiedBy>
  <cp:revision>74</cp:revision>
  <dcterms:created xsi:type="dcterms:W3CDTF">2024-06-03T14:29:32Z</dcterms:created>
  <dcterms:modified xsi:type="dcterms:W3CDTF">2025-01-13T08:23:03Z</dcterms:modified>
</cp:coreProperties>
</file>